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70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5226" autoAdjust="0"/>
  </p:normalViewPr>
  <p:slideViewPr>
    <p:cSldViewPr snapToGrid="0" snapToObjects="1">
      <p:cViewPr varScale="1">
        <p:scale>
          <a:sx n="86" d="100"/>
          <a:sy n="86" d="100"/>
        </p:scale>
        <p:origin x="744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3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002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sz="2900" dirty="0"/>
              <a:t>CREO PARAMETRIC – 2D DETAILING AND DOCUMENTATION 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76829" y="1223960"/>
            <a:ext cx="9987973" cy="339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Simplified creation and documentation of detailed manufacturing requirements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19B4631-CBE9-4D89-9930-D27E30406E33}"/>
              </a:ext>
            </a:extLst>
          </p:cNvPr>
          <p:cNvGrpSpPr/>
          <p:nvPr/>
        </p:nvGrpSpPr>
        <p:grpSpPr>
          <a:xfrm>
            <a:off x="6754222" y="2151375"/>
            <a:ext cx="5127823" cy="3710236"/>
            <a:chOff x="6854243" y="2606660"/>
            <a:chExt cx="5127823" cy="3710236"/>
          </a:xfrm>
        </p:grpSpPr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BFBFC"/>
                </a:clrFrom>
                <a:clrTo>
                  <a:srgbClr val="FBFB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54243" y="3505201"/>
              <a:ext cx="5013489" cy="2811695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BFBFC"/>
                </a:clrFrom>
                <a:clrTo>
                  <a:srgbClr val="FBFBF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8200" y="2606660"/>
              <a:ext cx="3523866" cy="25773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33C2510D-33FB-4E5A-89C7-6C5A9130BE2A}"/>
              </a:ext>
            </a:extLst>
          </p:cNvPr>
          <p:cNvSpPr/>
          <p:nvPr/>
        </p:nvSpPr>
        <p:spPr>
          <a:xfrm>
            <a:off x="499301" y="1885336"/>
            <a:ext cx="1510147" cy="52465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F71EFF5-59EC-430C-ADB4-2162E11C8E19}"/>
              </a:ext>
            </a:extLst>
          </p:cNvPr>
          <p:cNvSpPr/>
          <p:nvPr/>
        </p:nvSpPr>
        <p:spPr>
          <a:xfrm>
            <a:off x="2150157" y="1885336"/>
            <a:ext cx="7908242" cy="5246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Every customers that needs to document product specifications and manufacturing detail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11A93DC-2005-45FB-9F98-4773D32172F5}"/>
              </a:ext>
            </a:extLst>
          </p:cNvPr>
          <p:cNvSpPr/>
          <p:nvPr/>
        </p:nvSpPr>
        <p:spPr>
          <a:xfrm>
            <a:off x="499301" y="2487132"/>
            <a:ext cx="1510147" cy="6400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 dirty="0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01E53C8-D427-4116-9F79-134D7F0272ED}"/>
              </a:ext>
            </a:extLst>
          </p:cNvPr>
          <p:cNvSpPr/>
          <p:nvPr/>
        </p:nvSpPr>
        <p:spPr>
          <a:xfrm>
            <a:off x="2150156" y="2487132"/>
            <a:ext cx="5954573" cy="7466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16FF0F4-4302-48A5-AA25-53276081C630}"/>
              </a:ext>
            </a:extLst>
          </p:cNvPr>
          <p:cNvSpPr/>
          <p:nvPr/>
        </p:nvSpPr>
        <p:spPr>
          <a:xfrm>
            <a:off x="499301" y="3197077"/>
            <a:ext cx="1510147" cy="53984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AF2BB6E-4CC8-4718-B7E6-4D2EF69F3723}"/>
              </a:ext>
            </a:extLst>
          </p:cNvPr>
          <p:cNvSpPr/>
          <p:nvPr/>
        </p:nvSpPr>
        <p:spPr>
          <a:xfrm>
            <a:off x="2150157" y="3308837"/>
            <a:ext cx="3936486" cy="3077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2D drawing and documenta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5614973-AB40-4DC4-B6A5-2639CA1CD55D}"/>
              </a:ext>
            </a:extLst>
          </p:cNvPr>
          <p:cNvSpPr/>
          <p:nvPr/>
        </p:nvSpPr>
        <p:spPr>
          <a:xfrm>
            <a:off x="499301" y="3832254"/>
            <a:ext cx="1510147" cy="24488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7C67DFF-3D55-48CF-99DC-833FC99A4B3C}"/>
              </a:ext>
            </a:extLst>
          </p:cNvPr>
          <p:cNvSpPr/>
          <p:nvPr/>
        </p:nvSpPr>
        <p:spPr>
          <a:xfrm>
            <a:off x="2150157" y="3832254"/>
            <a:ext cx="3936485" cy="24488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ed creation of drawings using standard template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ast drawing “cleanup” of dimensions, notes and annotation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ic creation of associative BOM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ic creation of views and balloon callout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asily creation of dimensions, geometric tolerances, annotations, etc.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upport for all industry standards (ANSE, ISO, ASME and JIS)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6810136-2EBA-4471-A20F-4D9F7F0F5F75}"/>
              </a:ext>
            </a:extLst>
          </p:cNvPr>
          <p:cNvCxnSpPr>
            <a:cxnSpLocks/>
          </p:cNvCxnSpPr>
          <p:nvPr/>
        </p:nvCxnSpPr>
        <p:spPr>
          <a:xfrm>
            <a:off x="2106433" y="1885336"/>
            <a:ext cx="0" cy="52465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C4E4C9AC-B2C4-45CA-A669-AFCD357340BF}"/>
              </a:ext>
            </a:extLst>
          </p:cNvPr>
          <p:cNvCxnSpPr>
            <a:cxnSpLocks/>
          </p:cNvCxnSpPr>
          <p:nvPr/>
        </p:nvCxnSpPr>
        <p:spPr>
          <a:xfrm>
            <a:off x="2106433" y="2487131"/>
            <a:ext cx="0" cy="6400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A6050D1-7ABB-491C-94E6-DF47AC5FE12A}"/>
              </a:ext>
            </a:extLst>
          </p:cNvPr>
          <p:cNvCxnSpPr>
            <a:cxnSpLocks/>
          </p:cNvCxnSpPr>
          <p:nvPr/>
        </p:nvCxnSpPr>
        <p:spPr>
          <a:xfrm>
            <a:off x="2106433" y="3197077"/>
            <a:ext cx="0" cy="53984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A780F12E-E1A8-4D62-9F4B-206ADC1C84D3}"/>
              </a:ext>
            </a:extLst>
          </p:cNvPr>
          <p:cNvCxnSpPr>
            <a:cxnSpLocks/>
          </p:cNvCxnSpPr>
          <p:nvPr/>
        </p:nvCxnSpPr>
        <p:spPr>
          <a:xfrm>
            <a:off x="2106433" y="3832254"/>
            <a:ext cx="0" cy="244885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8032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07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Wingdings</vt:lpstr>
      <vt:lpstr>Arial</vt:lpstr>
      <vt:lpstr>PTCRaleway</vt:lpstr>
      <vt:lpstr>PTCRaleway Black</vt:lpstr>
      <vt:lpstr>Arial Narrow</vt:lpstr>
      <vt:lpstr>PTC PowerPoint Template</vt:lpstr>
      <vt:lpstr>think-cell Slide</vt:lpstr>
      <vt:lpstr>CREO PARAMETRIC – 2D DETAILING AND DOCUMENTATIO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3T09:46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